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ommentAuthors.xml" ContentType="application/vnd.openxmlformats-officedocument.presentationml.commentAuthors+xml"/>
  <Override PartName="/ppt/comments/comment1.xml" ContentType="application/vnd.openxmlformats-officedocument.presentationml.comments+xml"/>
  <Override PartName="/ppt/drawings/vmlDrawing1.vml" ContentType="application/vnd.openxmlformats-officedocument.vmlDrawing"/>
  <Override PartName="/ppt/drawings/vmlDrawing2.vml" ContentType="application/vnd.openxmlformats-officedocument.vmlDrawing"/>
  <Override PartName="/ppt/drawings/vmlDrawing3.vml" ContentType="application/vnd.openxmlformats-officedocument.vmlDrawing"/>
  <Override PartName="/ppt/drawings/vmlDrawing4.vml" ContentType="application/vnd.openxmlformats-officedocument.vmlDrawing"/>
  <Override PartName="/ppt/drawings/vmlDrawing5.vml" ContentType="application/vnd.openxmlformats-officedocument.vmlDrawing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0" r:id="rId1"/>
  </p:sldMasterIdLst>
  <p:notesMasterIdLst>
    <p:notesMasterId r:id="rId5"/>
  </p:notesMasterIdLst>
  <p:handoutMasterIdLst>
    <p:handoutMasterId r:id="rId6"/>
  </p:handoutMasterIdLst>
  <p:sldIdLst>
    <p:sldId id="1340" r:id="rId2"/>
    <p:sldId id="1688" r:id="rId3"/>
    <p:sldId id="1691" r:id="rId4"/>
    <p:sldId id="1692" r:id="rId13"/>
  </p:sldIdLst>
  <p:sldSz cx="9906000" cy="6858000" type="A4"/>
  <p:notesSz cx="6738938" cy="9869488"/>
  <p:custDataLst>
    <p:tags r:id="rId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AE555BF-FD6E-4C6A-AB9E-C11BA3924CA3}">
          <p14:sldIdLst>
            <p14:sldId id="1340"/>
          </p14:sldIdLst>
        </p14:section>
        <p14:section name="Market" id="{53BF8AF7-9997-4803-9D41-976CEE97A4CC}">
          <p14:sldIdLst/>
        </p14:section>
        <p14:section name="Planning" id="{A2FC09E8-8481-40FA-9BB9-AA21700F97BB}">
          <p14:sldIdLst>
            <p14:sldId id="1688"/>
            <p14:sldId id="169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33">
          <p15:clr>
            <a:srgbClr val="A4A3A4"/>
          </p15:clr>
        </p15:guide>
        <p15:guide id="2" orient="horz" pos="1102">
          <p15:clr>
            <a:srgbClr val="A4A3A4"/>
          </p15:clr>
        </p15:guide>
        <p15:guide id="3" orient="horz" pos="4004">
          <p15:clr>
            <a:srgbClr val="A4A3A4"/>
          </p15:clr>
        </p15:guide>
        <p15:guide id="4" orient="horz" pos="4201">
          <p15:clr>
            <a:srgbClr val="A4A3A4"/>
          </p15:clr>
        </p15:guide>
        <p15:guide id="5" orient="horz" pos="482">
          <p15:clr>
            <a:srgbClr val="A4A3A4"/>
          </p15:clr>
        </p15:guide>
        <p15:guide id="6" pos="5978" userDrawn="1">
          <p15:clr>
            <a:srgbClr val="A4A3A4"/>
          </p15:clr>
        </p15:guide>
        <p15:guide id="7" pos="3066">
          <p15:clr>
            <a:srgbClr val="A4A3A4"/>
          </p15:clr>
        </p15:guide>
        <p15:guide id="8" pos="3156">
          <p15:clr>
            <a:srgbClr val="A4A3A4"/>
          </p15:clr>
        </p15:guide>
        <p15:guide id="9" pos="2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666"/>
    <a:srgbClr val="A21E4D"/>
    <a:srgbClr val="003366"/>
    <a:srgbClr val="DCEBF0"/>
    <a:srgbClr val="ACD1DC"/>
    <a:srgbClr val="C6DFE7"/>
    <a:srgbClr val="A8ADB3"/>
    <a:srgbClr val="D4D6D9"/>
    <a:srgbClr val="E9E9E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38" autoAdjust="0"/>
    <p:restoredTop sz="93491" autoAdjust="0"/>
  </p:normalViewPr>
  <p:slideViewPr>
    <p:cSldViewPr showGuides="1">
      <p:cViewPr varScale="1">
        <p:scale>
          <a:sx n="128" d="100"/>
          <a:sy n="128" d="100"/>
        </p:scale>
        <p:origin x="880" y="176"/>
      </p:cViewPr>
      <p:guideLst>
        <p:guide orient="horz" pos="733"/>
        <p:guide orient="horz" pos="1102"/>
        <p:guide orient="horz" pos="4004"/>
        <p:guide orient="horz" pos="4201"/>
        <p:guide orient="horz" pos="482"/>
        <p:guide pos="5978"/>
        <p:guide pos="3066"/>
        <p:guide pos="3156"/>
        <p:guide pos="2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916"/>
    </p:cViewPr>
  </p:sorterViewPr>
  <p:notesViewPr>
    <p:cSldViewPr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3" Type="http://schemas.openxmlformats.org/officeDocument/2006/relationships/slide" Target="slides/slide4.xml"/></Relationships>
</file>

<file path=ppt/charts/_rels/chart1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'1.0' encoding='UTF-8' standalone='yes'?>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3.xml.rels><?xml version='1.0' encoding='UTF-8' standalone='yes'?>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883424521847022E-3"/>
          <c:y val="9.595703236874234E-2"/>
          <c:w val="0.99451165754781534"/>
          <c:h val="0.876267401382708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 69.SP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19050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0"/>
              <c:numFmt formatCode="#,##0," sourceLinked="0"/>
              <c:spPr/>
              <c:txPr>
                <a:bodyPr/>
                <a:lstStyle/>
                <a:p>
                  <a:pPr>
                    <a:defRPr/>
                  </a:pPr>
                  <a:endParaRPr lang="en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FAB-488A-8D9E-AA358413A017}"/>
                </c:ext>
              </c:extLst>
            </c:dLbl>
            <c:numFmt formatCode="#,##0," sourceLinked="0"/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_(* #,##0_);_(* \(#,##0\);_(* "-"??_);_(@_)</c:formatCode>
                <c:ptCount val="11"/>
                <c:pt idx="0">
                  <c:v>4620952.33</c:v>
                </c:pt>
                <c:pt idx="1">
                  <c:v>4855459.2359999996</c:v>
                </c:pt>
                <c:pt idx="2">
                  <c:v>5201840.6440000003</c:v>
                </c:pt>
                <c:pt idx="3">
                  <c:v>5414324.4680000003</c:v>
                </c:pt>
                <c:pt idx="4">
                  <c:v>5742610.7740000002</c:v>
                </c:pt>
                <c:pt idx="5">
                  <c:v>6089058.4759999998</c:v>
                </c:pt>
                <c:pt idx="6">
                  <c:v>6139826.5729999999</c:v>
                </c:pt>
                <c:pt idx="7">
                  <c:v>5965578.2570000002</c:v>
                </c:pt>
                <c:pt idx="8">
                  <c:v>6009767.6459999997</c:v>
                </c:pt>
                <c:pt idx="9">
                  <c:v>5928071.428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AB-488A-8D9E-AA358413A01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 69.OP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numFmt formatCode="#,##0,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_(* #,##0_);_(* \(#,##0\);_(* "-"??_);_(@_)</c:formatCode>
                <c:ptCount val="11"/>
                <c:pt idx="0">
                  <c:v>4451751</c:v>
                </c:pt>
                <c:pt idx="1">
                  <c:v>4687641</c:v>
                </c:pt>
                <c:pt idx="2">
                  <c:v>4859008</c:v>
                </c:pt>
                <c:pt idx="3">
                  <c:v>4809117</c:v>
                </c:pt>
                <c:pt idx="4">
                  <c:v>5058239</c:v>
                </c:pt>
                <c:pt idx="5">
                  <c:v>5493677</c:v>
                </c:pt>
                <c:pt idx="6">
                  <c:v>5818480</c:v>
                </c:pt>
                <c:pt idx="7">
                  <c:v>5657199</c:v>
                </c:pt>
                <c:pt idx="8">
                  <c:v>5632030</c:v>
                </c:pt>
                <c:pt idx="9">
                  <c:v>5620010</c:v>
                </c:pt>
                <c:pt idx="10">
                  <c:v>54872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09701504"/>
        <c:axId val="210960768"/>
      </c:barChart>
      <c:lineChart>
        <c:grouping val="standard"/>
        <c:varyColors val="0"/>
        <c:ser>
          <c:idx val="2"/>
          <c:order val="2"/>
          <c:tx>
            <c:strRef>
              <c:f>Sheet1!$A$4</c:f>
              <c:strCache>
                <c:ptCount val="1"/>
                <c:pt idx="0">
                  <c:v>MS% PR69.SP</c:v>
                </c:pt>
              </c:strCache>
            </c:strRef>
          </c:tx>
          <c:spPr>
            <a:ln w="19050">
              <a:solidFill>
                <a:schemeClr val="bg1">
                  <a:lumMod val="50000"/>
                </a:schemeClr>
              </a:solidFill>
              <a:prstDash val="sysDash"/>
            </a:ln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bg1">
                    <a:lumMod val="50000"/>
                  </a:schemeClr>
                </a:solidFill>
                <a:prstDash val="solid"/>
              </a:ln>
            </c:spPr>
          </c:marker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3-8FAB-488A-8D9E-AA358413A017}"/>
              </c:ext>
            </c:extLst>
          </c:dPt>
          <c:dLbls>
            <c:dLbl>
              <c:idx val="0"/>
              <c:layout>
                <c:manualLayout>
                  <c:x val="-3.2657593466201229E-2"/>
                  <c:y val="8.06053678774024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FAB-488A-8D9E-AA358413A017}"/>
                </c:ext>
              </c:extLst>
            </c:dLbl>
            <c:dLbl>
              <c:idx val="1"/>
              <c:layout>
                <c:manualLayout>
                  <c:x val="-3.0954239186080992E-2"/>
                  <c:y val="6.52726272119210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FAB-488A-8D9E-AA358413A017}"/>
                </c:ext>
              </c:extLst>
            </c:dLbl>
            <c:dLbl>
              <c:idx val="2"/>
              <c:layout>
                <c:manualLayout>
                  <c:x val="-3.0954239186080992E-2"/>
                  <c:y val="5.26881720430107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FAB-488A-8D9E-AA358413A017}"/>
                </c:ext>
              </c:extLst>
            </c:dLbl>
            <c:dLbl>
              <c:idx val="3"/>
              <c:layout>
                <c:manualLayout>
                  <c:x val="-3.0954239186080992E-2"/>
                  <c:y val="5.43209876543209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FAB-488A-8D9E-AA358413A017}"/>
                </c:ext>
              </c:extLst>
            </c:dLbl>
            <c:dLbl>
              <c:idx val="5"/>
              <c:layout>
                <c:manualLayout>
                  <c:x val="-2.7547530625840592E-2"/>
                  <c:y val="7.95698924731182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FAB-488A-8D9E-AA358413A017}"/>
                </c:ext>
              </c:extLst>
            </c:dLbl>
            <c:dLbl>
              <c:idx val="6"/>
              <c:layout>
                <c:manualLayout>
                  <c:x val="-3.6064302026441751E-2"/>
                  <c:y val="5.80645161290322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FAB-488A-8D9E-AA358413A017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0.0%</c:formatCode>
                <c:ptCount val="11"/>
                <c:pt idx="0">
                  <c:v>0.20399999999999999</c:v>
                </c:pt>
                <c:pt idx="1">
                  <c:v>0.21099999999999999</c:v>
                </c:pt>
                <c:pt idx="2">
                  <c:v>0.21</c:v>
                </c:pt>
                <c:pt idx="3">
                  <c:v>0.20499999999999999</c:v>
                </c:pt>
                <c:pt idx="4">
                  <c:v>0.20699999999999999</c:v>
                </c:pt>
                <c:pt idx="5">
                  <c:v>0.20899999999999999</c:v>
                </c:pt>
                <c:pt idx="6">
                  <c:v>0.20599999999999999</c:v>
                </c:pt>
                <c:pt idx="7">
                  <c:v>0.19600000000000001</c:v>
                </c:pt>
                <c:pt idx="8">
                  <c:v>0.19400000000000001</c:v>
                </c:pt>
                <c:pt idx="9">
                  <c:v>0.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FAB-488A-8D9E-AA358413A01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MS% PR69.OP</c:v>
                </c:pt>
              </c:strCache>
            </c:strRef>
          </c:tx>
          <c:spPr>
            <a:ln w="22225">
              <a:solidFill>
                <a:srgbClr val="003366"/>
              </a:solidFill>
            </a:ln>
          </c:spPr>
          <c:marker>
            <c:symbol val="diamond"/>
            <c:size val="6"/>
            <c:spPr>
              <a:solidFill>
                <a:srgbClr val="003366"/>
              </a:solidFill>
              <a:ln>
                <a:solidFill>
                  <a:srgbClr val="003366"/>
                </a:solidFill>
              </a:ln>
            </c:spPr>
          </c:marker>
          <c:dLbls>
            <c:dLbl>
              <c:idx val="0"/>
              <c:layout>
                <c:manualLayout>
                  <c:x val="-2.243746778547983E-2"/>
                  <c:y val="-9.13580246913580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FAB-488A-8D9E-AA358413A017}"/>
                </c:ext>
              </c:extLst>
            </c:dLbl>
            <c:dLbl>
              <c:idx val="1"/>
              <c:layout>
                <c:manualLayout>
                  <c:x val="-3.2657593466201229E-2"/>
                  <c:y val="-6.66671527170214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FAB-488A-8D9E-AA358413A017}"/>
                </c:ext>
              </c:extLst>
            </c:dLbl>
            <c:dLbl>
              <c:idx val="2"/>
              <c:layout>
                <c:manualLayout>
                  <c:x val="-3.9471010586682155E-2"/>
                  <c:y val="-8.5184997036660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FAB-488A-8D9E-AA358413A017}"/>
                </c:ext>
              </c:extLst>
            </c:dLbl>
            <c:dLbl>
              <c:idx val="3"/>
              <c:layout>
                <c:manualLayout>
                  <c:x val="-3.0102562046020877E-2"/>
                  <c:y val="-7.8315553297773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FAB-488A-8D9E-AA358413A017}"/>
                </c:ext>
              </c:extLst>
            </c:dLbl>
            <c:dLbl>
              <c:idx val="5"/>
              <c:layout>
                <c:manualLayout>
                  <c:x val="-2.8399207765900707E-2"/>
                  <c:y val="-6.07526881720429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FAB-488A-8D9E-AA358413A017}"/>
                </c:ext>
              </c:extLst>
            </c:dLbl>
            <c:dLbl>
              <c:idx val="6"/>
              <c:layout>
                <c:manualLayout>
                  <c:x val="-2.8399207765900707E-2"/>
                  <c:y val="-5.53763440860215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FAB-488A-8D9E-AA358413A017}"/>
                </c:ext>
              </c:extLst>
            </c:dLbl>
            <c:dLbl>
              <c:idx val="10"/>
              <c:layout>
                <c:manualLayout>
                  <c:x val="-3.0102562046020877E-2"/>
                  <c:y val="-8.22580645161290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FAB-488A-8D9E-AA358413A017}"/>
                </c:ext>
              </c:extLst>
            </c:dLbl>
            <c:numFmt formatCode="0.0%" sourceLinked="0"/>
            <c:spPr>
              <a:solidFill>
                <a:schemeClr val="bg1">
                  <a:lumMod val="95000"/>
                </a:schemeClr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0.0%</c:formatCode>
                <c:ptCount val="11"/>
                <c:pt idx="0">
                  <c:v>0.20499999999999999</c:v>
                </c:pt>
                <c:pt idx="1">
                  <c:v>0.21299999999999999</c:v>
                </c:pt>
                <c:pt idx="2">
                  <c:v>0.216</c:v>
                </c:pt>
                <c:pt idx="3">
                  <c:v>0.20599999999999999</c:v>
                </c:pt>
                <c:pt idx="4">
                  <c:v>0.20599999999999999</c:v>
                </c:pt>
                <c:pt idx="5">
                  <c:v>0.21299999999999999</c:v>
                </c:pt>
                <c:pt idx="6">
                  <c:v>0.215</c:v>
                </c:pt>
                <c:pt idx="7">
                  <c:v>0.2</c:v>
                </c:pt>
                <c:pt idx="8">
                  <c:v>0.193</c:v>
                </c:pt>
                <c:pt idx="9">
                  <c:v>0.187</c:v>
                </c:pt>
                <c:pt idx="10">
                  <c:v>0.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8FAB-488A-8D9E-AA358413A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0963840"/>
        <c:axId val="210962304"/>
      </c:lineChart>
      <c:catAx>
        <c:axId val="2097015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210960768"/>
        <c:crosses val="autoZero"/>
        <c:auto val="1"/>
        <c:lblAlgn val="ctr"/>
        <c:lblOffset val="100"/>
        <c:noMultiLvlLbl val="0"/>
      </c:catAx>
      <c:valAx>
        <c:axId val="210960768"/>
        <c:scaling>
          <c:orientation val="minMax"/>
          <c:max val="1000000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one"/>
        <c:spPr>
          <a:ln>
            <a:noFill/>
          </a:ln>
        </c:spPr>
        <c:crossAx val="209701504"/>
        <c:crosses val="autoZero"/>
        <c:crossBetween val="between"/>
      </c:valAx>
      <c:valAx>
        <c:axId val="210962304"/>
        <c:scaling>
          <c:orientation val="minMax"/>
          <c:max val="0.23"/>
          <c:min val="0.1"/>
        </c:scaling>
        <c:delete val="0"/>
        <c:axPos val="r"/>
        <c:numFmt formatCode="0%" sourceLinked="0"/>
        <c:majorTickMark val="out"/>
        <c:minorTickMark val="in"/>
        <c:tickLblPos val="none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</c:spPr>
        <c:crossAx val="210963840"/>
        <c:crosses val="max"/>
        <c:crossBetween val="between"/>
      </c:valAx>
      <c:catAx>
        <c:axId val="2109638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0962304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5.007218997536985E-2"/>
          <c:y val="2.8425314556728018E-2"/>
          <c:w val="0.82495297080167274"/>
          <c:h val="4.058279189136838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800" b="1">
          <a:latin typeface="VWAG TheSans" panose="020B0502050302020203" pitchFamily="34" charset="0"/>
        </a:defRPr>
      </a:pPr>
      <a:endParaRPr lang="en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38053663416043"/>
          <c:y val="2.8324619078141572E-2"/>
          <c:w val="0.87690155481656074"/>
          <c:h val="0.70864144765781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 66</c:v>
                </c:pt>
              </c:strCache>
            </c:strRef>
          </c:tx>
          <c:spPr>
            <a:ln w="28575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B$2:$B$22</c:f>
            </c:numRef>
          </c:val>
          <c:smooth val="0"/>
          <c:extLst>
            <c:ext xmlns:c16="http://schemas.microsoft.com/office/drawing/2014/chart" uri="{C3380CC4-5D6E-409C-BE32-E72D297353CC}">
              <c16:uniqueId val="{00000000-571D-4A5E-A8E0-E10FDBC566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 67</c:v>
                </c:pt>
              </c:strCache>
            </c:strRef>
          </c:tx>
          <c:spPr>
            <a:ln w="28575">
              <a:solidFill>
                <a:srgbClr val="0070C0"/>
              </a:solidFill>
              <a:prstDash val="solid"/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C$2:$C$22</c:f>
            </c:numRef>
          </c:val>
          <c:smooth val="0"/>
          <c:extLst>
            <c:ext xmlns:c16="http://schemas.microsoft.com/office/drawing/2014/chart" uri="{C3380CC4-5D6E-409C-BE32-E72D297353CC}">
              <c16:uniqueId val="{00000001-571D-4A5E-A8E0-E10FDBC566A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R68.SP</c:v>
                </c:pt>
              </c:strCache>
            </c:strRef>
          </c:tx>
          <c:spPr>
            <a:ln w="38100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571D-4A5E-A8E0-E10FDBC566A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571D-4A5E-A8E0-E10FDBC566AE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D$2:$D$22</c:f>
            </c:numRef>
          </c:val>
          <c:smooth val="0"/>
          <c:extLst>
            <c:ext xmlns:c16="http://schemas.microsoft.com/office/drawing/2014/chart" uri="{C3380CC4-5D6E-409C-BE32-E72D297353CC}">
              <c16:uniqueId val="{00000006-571D-4A5E-A8E0-E10FDBC566A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68.OP</c:v>
                </c:pt>
              </c:strCache>
            </c:strRef>
          </c:tx>
          <c:spPr>
            <a:ln w="38100">
              <a:solidFill>
                <a:srgbClr val="FFFFFF">
                  <a:lumMod val="50000"/>
                </a:srgbClr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8-571D-4A5E-A8E0-E10FDBC566A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A-571D-4A5E-A8E0-E10FDBC566AE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E$2:$E$22</c:f>
            </c:numRef>
          </c:val>
          <c:smooth val="0"/>
          <c:extLst>
            <c:ext xmlns:c16="http://schemas.microsoft.com/office/drawing/2014/chart" uri="{C3380CC4-5D6E-409C-BE32-E72D297353CC}">
              <c16:uniqueId val="{0000000B-571D-4A5E-A8E0-E10FDBC566A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PR1</c:v>
                </c:pt>
              </c:strCache>
            </c:strRef>
          </c:tx>
          <c:spPr>
            <a:ln w="38100">
              <a:solidFill>
                <a:srgbClr val="FFFFFF">
                  <a:lumMod val="65000"/>
                </a:srgbClr>
              </a:solidFill>
            </a:ln>
          </c:spPr>
          <c:marker>
            <c:symbol val="none"/>
          </c:marker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F$2:$F$22</c:f>
              <c:numCache>
                <c:formatCode>#,##0,</c:formatCode>
                <c:ptCount val="14"/>
                <c:pt idx="0">
                  <c:v>21683810.909090906</c:v>
                </c:pt>
                <c:pt idx="1">
                  <c:v>10830980.476190476</c:v>
                </c:pt>
                <c:pt idx="2">
                  <c:v>6862278.7096774187</c:v>
                </c:pt>
                <c:pt idx="3">
                  <c:v>5292682.9268292692</c:v>
                </c:pt>
                <c:pt idx="4">
                  <c:v>4313725.490196079</c:v>
                </c:pt>
                <c:pt idx="5">
                  <c:v>3688524.5901639345</c:v>
                </c:pt>
                <c:pt idx="6">
                  <c:v>3295774.647887324</c:v>
                </c:pt>
                <c:pt idx="7">
                  <c:v>3024691.3580246917</c:v>
                </c:pt>
                <c:pt idx="8">
                  <c:v>2835164.8351648352</c:v>
                </c:pt>
                <c:pt idx="9">
                  <c:v>2683168.3168316833</c:v>
                </c:pt>
                <c:pt idx="10">
                  <c:v>2549549.5495495498</c:v>
                </c:pt>
                <c:pt idx="11">
                  <c:v>2413223.1404958679</c:v>
                </c:pt>
                <c:pt idx="12">
                  <c:v>2290076.3358778628</c:v>
                </c:pt>
                <c:pt idx="13">
                  <c:v>2163120.56737588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B87-4797-AB61-F8BA1135F2A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PR2</c:v>
                </c:pt>
              </c:strCache>
            </c:strRef>
          </c:tx>
          <c:spPr>
            <a:ln>
              <a:prstDash val="lgDash"/>
            </a:ln>
          </c:spPr>
          <c:marker>
            <c:symbol val="none"/>
          </c:marker>
          <c:dPt>
            <c:idx val="1"/>
            <c:bubble3D val="0"/>
            <c:spPr>
              <a:ln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E079-437D-9B7D-ADF14DBF23A7}"/>
              </c:ext>
            </c:extLst>
          </c:dPt>
          <c:dPt>
            <c:idx val="2"/>
            <c:bubble3D val="0"/>
            <c:spPr>
              <a:ln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E079-437D-9B7D-ADF14DBF23A7}"/>
              </c:ext>
            </c:extLst>
          </c:dPt>
          <c:cat>
            <c:strRef>
              <c:f>Sheet1!$A$2:$A$22</c:f>
              <c:strCach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E</c:v>
                </c:pt>
                <c:pt idx="4">
                  <c:v>2021E</c:v>
                </c:pt>
                <c:pt idx="5">
                  <c:v>2022E</c:v>
                </c:pt>
                <c:pt idx="6">
                  <c:v>2023E</c:v>
                </c:pt>
                <c:pt idx="7">
                  <c:v>2024E</c:v>
                </c:pt>
                <c:pt idx="8">
                  <c:v>2025E</c:v>
                </c:pt>
                <c:pt idx="9">
                  <c:v>2026E</c:v>
                </c:pt>
                <c:pt idx="10">
                  <c:v>2027E</c:v>
                </c:pt>
                <c:pt idx="11">
                  <c:v>2028E</c:v>
                </c:pt>
                <c:pt idx="12">
                  <c:v>2029E</c:v>
                </c:pt>
                <c:pt idx="13">
                  <c:v>2030E</c:v>
                </c:pt>
              </c:strCache>
            </c:strRef>
          </c:cat>
          <c:val>
            <c:numRef>
              <c:f>Sheet1!$G$2:$G$22</c:f>
              <c:numCache>
                <c:formatCode>#,##0,</c:formatCode>
                <c:ptCount val="14"/>
                <c:pt idx="0">
                  <c:v>21683810.909090906</c:v>
                </c:pt>
                <c:pt idx="1">
                  <c:v>10830980.476190476</c:v>
                </c:pt>
                <c:pt idx="2">
                  <c:v>6862278.7096774187</c:v>
                </c:pt>
                <c:pt idx="3">
                  <c:v>4634146.341463415</c:v>
                </c:pt>
                <c:pt idx="4">
                  <c:v>4156862.7450980395</c:v>
                </c:pt>
                <c:pt idx="5">
                  <c:v>3688524.5901639345</c:v>
                </c:pt>
                <c:pt idx="6">
                  <c:v>3295774.647887324</c:v>
                </c:pt>
                <c:pt idx="7">
                  <c:v>3024691.3580246917</c:v>
                </c:pt>
                <c:pt idx="8">
                  <c:v>2835164.8351648352</c:v>
                </c:pt>
                <c:pt idx="9">
                  <c:v>2683168.3168316833</c:v>
                </c:pt>
                <c:pt idx="10">
                  <c:v>2549549.5495495498</c:v>
                </c:pt>
                <c:pt idx="11">
                  <c:v>2413223.1404958679</c:v>
                </c:pt>
                <c:pt idx="12">
                  <c:v>2290076.3358778628</c:v>
                </c:pt>
                <c:pt idx="13">
                  <c:v>2163120.56737588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079-437D-9B7D-ADF14DBF23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4931072"/>
        <c:axId val="124936960"/>
      </c:lineChart>
      <c:catAx>
        <c:axId val="124931072"/>
        <c:scaling>
          <c:orientation val="minMax"/>
        </c:scaling>
        <c:delete val="1"/>
        <c:axPos val="b"/>
        <c:numFmt formatCode="0," sourceLinked="0"/>
        <c:majorTickMark val="out"/>
        <c:minorTickMark val="none"/>
        <c:tickLblPos val="nextTo"/>
        <c:crossAx val="124936960"/>
        <c:crossesAt val="1000000000"/>
        <c:auto val="1"/>
        <c:lblAlgn val="ctr"/>
        <c:lblOffset val="100"/>
        <c:noMultiLvlLbl val="0"/>
      </c:catAx>
      <c:valAx>
        <c:axId val="124936960"/>
        <c:scaling>
          <c:orientation val="minMax"/>
        </c:scaling>
        <c:delete val="0"/>
        <c:axPos val="l"/>
        <c:numFmt formatCode="#,##0," sourceLinked="0"/>
        <c:majorTickMark val="out"/>
        <c:minorTickMark val="none"/>
        <c:tickLblPos val="nextTo"/>
        <c:txPr>
          <a:bodyPr/>
          <a:lstStyle/>
          <a:p>
            <a:pPr>
              <a:defRPr sz="900" b="0"/>
            </a:pPr>
            <a:endParaRPr lang="en-CN"/>
          </a:p>
        </c:txPr>
        <c:crossAx val="124931072"/>
        <c:crosses val="autoZero"/>
        <c:crossBetween val="between"/>
      </c:valAx>
      <c:dTable>
        <c:showHorzBorder val="1"/>
        <c:showVertBorder val="1"/>
        <c:showOutline val="1"/>
        <c:showKeys val="0"/>
        <c:txPr>
          <a:bodyPr/>
          <a:lstStyle/>
          <a:p>
            <a:pPr rtl="0">
              <a:defRPr sz="900"/>
            </a:pPr>
            <a:endParaRPr lang="en-CN"/>
          </a:p>
        </c:txPr>
      </c:dTable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/>
      </a:pPr>
      <a:endParaRPr lang="en-C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chart>
    <c:plotArea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PR 69.SP</c:v>
                </c:pt>
              </c:strCache>
            </c:strRef>
          </c:tx>
          <c:cat>
            <c:strRef>
              <c:f>Sheet1!$A$2:$A$5</c:f>
              <c:strCache>
                <c:ptCount val="4"/>
                <c:pt idx="0">
                  <c:v>PR 69.SP</c:v>
                </c:pt>
                <c:pt idx="1">
                  <c:v>PR 69.OP</c:v>
                </c:pt>
                <c:pt idx="2">
                  <c:v>MS% PR69.SP</c:v>
                </c:pt>
                <c:pt idx="3">
                  <c:v>MS% PR69.OP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620952.33</c:v>
                </c:pt>
                <c:pt idx="1">
                  <c:v>4855459.236</c:v>
                </c:pt>
                <c:pt idx="2">
                  <c:v>5201840.644</c:v>
                </c:pt>
                <c:pt idx="3">
                  <c:v>5414324.46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 69.OP</c:v>
                </c:pt>
              </c:strCache>
            </c:strRef>
          </c:tx>
          <c:cat>
            <c:strRef>
              <c:f>Sheet1!$A$2:$A$5</c:f>
              <c:strCache>
                <c:ptCount val="4"/>
                <c:pt idx="0">
                  <c:v>PR 69.SP</c:v>
                </c:pt>
                <c:pt idx="1">
                  <c:v>PR 69.OP</c:v>
                </c:pt>
                <c:pt idx="2">
                  <c:v>MS% PR69.SP</c:v>
                </c:pt>
                <c:pt idx="3">
                  <c:v>MS% PR69.OP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451751</c:v>
                </c:pt>
                <c:pt idx="1">
                  <c:v>4687641</c:v>
                </c:pt>
                <c:pt idx="2">
                  <c:v>4859008</c:v>
                </c:pt>
                <c:pt idx="3">
                  <c:v>4809117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S% PR69.SP</c:v>
                </c:pt>
              </c:strCache>
            </c:strRef>
          </c:tx>
          <c:cat>
            <c:strRef>
              <c:f>Sheet1!$A$2:$A$5</c:f>
              <c:strCache>
                <c:ptCount val="4"/>
                <c:pt idx="0">
                  <c:v>PR 69.SP</c:v>
                </c:pt>
                <c:pt idx="1">
                  <c:v>PR 69.OP</c:v>
                </c:pt>
                <c:pt idx="2">
                  <c:v>MS% PR69.SP</c:v>
                </c:pt>
                <c:pt idx="3">
                  <c:v>MS% PR69.OP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0.204</c:v>
                </c:pt>
                <c:pt idx="1">
                  <c:v>0.211</c:v>
                </c:pt>
                <c:pt idx="2">
                  <c:v>0.21</c:v>
                </c:pt>
                <c:pt idx="3">
                  <c:v>0.20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S% PR69.OP</c:v>
                </c:pt>
              </c:strCache>
            </c:strRef>
          </c:tx>
          <c:cat>
            <c:strRef>
              <c:f>Sheet1!$A$2:$A$5</c:f>
              <c:strCache>
                <c:ptCount val="4"/>
                <c:pt idx="0">
                  <c:v>PR 69.SP</c:v>
                </c:pt>
                <c:pt idx="1">
                  <c:v>PR 69.OP</c:v>
                </c:pt>
                <c:pt idx="2">
                  <c:v>MS% PR69.SP</c:v>
                </c:pt>
                <c:pt idx="3">
                  <c:v>MS% PR69.OP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0.205</c:v>
                </c:pt>
                <c:pt idx="1">
                  <c:v>0.213</c:v>
                </c:pt>
                <c:pt idx="2">
                  <c:v>0.216</c:v>
                </c:pt>
                <c:pt idx="3">
                  <c:v>0.206</c:v>
                </c:pt>
              </c:numCache>
            </c:numRef>
          </c:val>
        </c:ser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majorTickMark val="out"/>
        <c:minorTickMark val="none"/>
        <c:tickLblPos val="nextTo"/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max val="100.0"/>
        </c:scaling>
        <c:delete val="0"/>
        <c:axPos val="l"/>
        <c:majorGridlines/>
        <c:title>
          <c:tx>
            <c:rich>
              <a:bodyPr/>
              <a:lstStyle/>
              <a:p>
                <a:r>
                  <a:t>False positive</a:t>
                </a:r>
              </a:p>
            </c:rich>
          </c:tx>
          <c:layout/>
          <c:overlay val="0"/>
        </c:title>
        <c:majorTickMark val="out"/>
        <c:minorTickMark val="none"/>
        <c:tickLblPos val="nextTo"/>
        <c:crossAx val="-2068027336"/>
        <c:crosses val="autoZero"/>
      </c:valAx>
    </c:plotArea>
    <c:legend>
      <c:legendPos val="t"/>
      <c:overlay val="0"/>
    </c:legend>
    <c:dispBlanksAs val="gap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8-04T16:17:21.636" idx="6">
    <p:pos x="10" y="10"/>
    <p:text>9，10页是一种类型，配色不一样</p:text>
    <p:extLst>
      <p:ext uri="{C676402C-5697-4E1C-873F-D02D1690AC5C}">
        <p15:threadingInfo xmlns:p15="http://schemas.microsoft.com/office/powerpoint/2012/main" timeZoneBias="-480"/>
      </p:ext>
    </p:extLst>
  </p:cm>
</p:cmLst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'1.0' encoding='UTF-8' standalone='yes'?>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'1.0' encoding='UTF-8' standalone='yes'?>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'1.0' encoding='UTF-8' standalone='yes'?>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8211" y="0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74761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8211" y="9374761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E37F82D7-8F0F-4075-B772-300E12DF032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66924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8211" y="0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98500" y="739775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7476" y="4687381"/>
            <a:ext cx="4943987" cy="4443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74761"/>
            <a:ext cx="2920732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8211" y="9374761"/>
            <a:ext cx="2920731" cy="494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907" tIns="44953" rIns="89907" bIns="44953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6FD2FF9D-3303-423F-A46B-6894B09FEDC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7925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'1.0' encoding='UTF-8' standalone='yes'?>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'1.0' encoding='UTF-8' standalone='yes'?>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101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776" indent="-285683" defTabSz="91101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2732" indent="-228548" defTabSz="91101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599824" indent="-228548" defTabSz="91101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6917" indent="-228548" defTabSz="91101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009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103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8195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5288" indent="-228548" algn="ctr" defTabSz="911010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370E58-3B1B-4A83-B54B-15D2B10490FB}" type="slidenum">
              <a:rPr lang="zh-CN" altLang="en-US" sz="1200"/>
              <a:pPr/>
              <a:t>1</a:t>
            </a:fld>
            <a:endParaRPr lang="en-US" altLang="zh-CN" sz="1200" dirty="0"/>
          </a:p>
        </p:txBody>
      </p:sp>
      <p:sp>
        <p:nvSpPr>
          <p:cNvPr id="61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5325" y="739775"/>
            <a:ext cx="5348288" cy="3702050"/>
          </a:xfrm>
          <a:ln/>
        </p:spPr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7884" y="4687416"/>
            <a:ext cx="4943175" cy="44424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Group Market Intelligence</a:t>
            </a:r>
          </a:p>
        </p:txBody>
      </p:sp>
    </p:spTree>
    <p:extLst>
      <p:ext uri="{BB962C8B-B14F-4D97-AF65-F5344CB8AC3E}">
        <p14:creationId xmlns:p14="http://schemas.microsoft.com/office/powerpoint/2010/main" val="1895265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Group Market Intelligenc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D2FF9D-3303-423F-A46B-6894B09FEDC0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80025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7AD731A-45D6-45F1-9911-161B03F1254D}" type="slidenum">
              <a:rPr lang="de-DE"/>
              <a:pPr/>
              <a:t>3</a:t>
            </a:fld>
            <a:endParaRPr lang="de-DE" dirty="0"/>
          </a:p>
        </p:txBody>
      </p:sp>
      <p:sp>
        <p:nvSpPr>
          <p:cNvPr id="182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22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2566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2" name="Line 2"/>
          <p:cNvSpPr>
            <a:spLocks noChangeShapeType="1"/>
          </p:cNvSpPr>
          <p:nvPr/>
        </p:nvSpPr>
        <p:spPr bwMode="auto">
          <a:xfrm>
            <a:off x="396875" y="1697038"/>
            <a:ext cx="9097963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>
              <a:latin typeface="VWAG TheSans" panose="020B0502050302020203" pitchFamily="34" charset="0"/>
            </a:endParaRPr>
          </a:p>
        </p:txBody>
      </p:sp>
      <p:sp>
        <p:nvSpPr>
          <p:cNvPr id="25600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406400" y="4271963"/>
            <a:ext cx="9088438" cy="1082675"/>
          </a:xfrm>
        </p:spPr>
        <p:txBody>
          <a:bodyPr/>
          <a:lstStyle>
            <a:lvl1pPr>
              <a:lnSpc>
                <a:spcPts val="3988"/>
              </a:lnSpc>
              <a:defRPr sz="2800">
                <a:latin typeface="VWAG TheSans" panose="020B0502050302020203" pitchFamily="34" charset="0"/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256004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6400" y="5351463"/>
            <a:ext cx="9088438" cy="823912"/>
          </a:xfrm>
        </p:spPr>
        <p:txBody>
          <a:bodyPr/>
          <a:lstStyle>
            <a:lvl1pPr>
              <a:lnSpc>
                <a:spcPts val="3988"/>
              </a:lnSpc>
              <a:defRPr sz="2400">
                <a:solidFill>
                  <a:schemeClr val="tx2"/>
                </a:solidFill>
                <a:latin typeface="VWAG TheSans" panose="020B0502050302020203" pitchFamily="34" charset="0"/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pic>
        <p:nvPicPr>
          <p:cNvPr id="8" name="Picture 59" descr="VWGCN-en_CO_M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4788" y="701675"/>
            <a:ext cx="18605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218238"/>
            <a:ext cx="224155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Grp="1" noChangeArrowheads="1"/>
          </p:cNvSpPr>
          <p:nvPr>
            <p:ph type="dt" sz="half" idx="10"/>
          </p:nvPr>
        </p:nvSpPr>
        <p:spPr>
          <a:xfrm>
            <a:off x="4308475" y="6510338"/>
            <a:ext cx="2011363" cy="179387"/>
          </a:xfrm>
        </p:spPr>
        <p:txBody>
          <a:bodyPr anchor="ctr"/>
          <a:lstStyle>
            <a:lvl1pPr algn="ctr">
              <a:defRPr sz="1300" dirty="0" smtClean="0">
                <a:latin typeface="VWAG TheSans" panose="020B0502050302020203" pitchFamily="34" charset="0"/>
              </a:defRPr>
            </a:lvl1pPr>
          </a:lstStyle>
          <a:p>
            <a:pPr>
              <a:defRPr/>
            </a:pPr>
            <a:endParaRPr lang="de-DE" altLang="zh-C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497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32160567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VW_AG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2113" y="1757363"/>
            <a:ext cx="4475162" cy="4589462"/>
          </a:xfr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08563" y="1757363"/>
            <a:ext cx="4487862" cy="4589462"/>
          </a:xfr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5B8A5C-9BF6-4330-88E8-2BE992197499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10885307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VW_AG_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2113" y="898525"/>
            <a:ext cx="9104312" cy="68421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2113" y="1757363"/>
            <a:ext cx="4473575" cy="458946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019675" y="1757363"/>
            <a:ext cx="4476750" cy="458946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763000" y="6548438"/>
            <a:ext cx="733425" cy="179387"/>
          </a:xfrm>
        </p:spPr>
        <p:txBody>
          <a:bodyPr/>
          <a:lstStyle>
            <a:lvl1pPr>
              <a:defRPr/>
            </a:lvl1pPr>
          </a:lstStyle>
          <a:p>
            <a:fld id="{6AED6461-42CE-4389-9D81-D2549EEF197E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8296956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VW_AG_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2113" y="898525"/>
            <a:ext cx="9104312" cy="68421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92113" y="1757363"/>
            <a:ext cx="4475162" cy="4589462"/>
          </a:xfrm>
        </p:spPr>
        <p:txBody>
          <a:bodyPr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10150" y="1757363"/>
            <a:ext cx="4486275" cy="4589462"/>
          </a:xfrm>
        </p:spPr>
        <p:txBody>
          <a:bodyPr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763000" y="6548438"/>
            <a:ext cx="733425" cy="179387"/>
          </a:xfrm>
        </p:spPr>
        <p:txBody>
          <a:bodyPr/>
          <a:lstStyle>
            <a:lvl1pPr>
              <a:defRPr/>
            </a:lvl1pPr>
          </a:lstStyle>
          <a:p>
            <a:fld id="{8B41C906-1C38-45D7-9E0E-624819D4FB87}" type="slidenum">
              <a:rPr lang="de-DE" noProof="0"/>
              <a:pPr/>
              <a:t>‹#›</a:t>
            </a:fld>
            <a:endParaRPr lang="de-DE" noProof="0" dirty="0"/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>
          <a:xfrm>
            <a:off x="4308475" y="6510338"/>
            <a:ext cx="2011363" cy="179387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sz="1300" kern="1200" dirty="0" smtClean="0">
                <a:solidFill>
                  <a:schemeClr val="tx1"/>
                </a:solidFill>
                <a:latin typeface="VWAG TheSans" panose="020B0502050302020203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zh-CN"/>
              <a:t>C - VI</a:t>
            </a:r>
          </a:p>
        </p:txBody>
      </p:sp>
    </p:spTree>
    <p:extLst>
      <p:ext uri="{BB962C8B-B14F-4D97-AF65-F5344CB8AC3E}">
        <p14:creationId xmlns:p14="http://schemas.microsoft.com/office/powerpoint/2010/main" val="1312960439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30409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73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74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5497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2113" y="1757363"/>
            <a:ext cx="9104312" cy="4589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5497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548438"/>
            <a:ext cx="733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58850">
              <a:spcBef>
                <a:spcPct val="0"/>
              </a:spcBef>
              <a:defRPr sz="1000">
                <a:latin typeface="VWAG TheSans" panose="020B0502050302020203" pitchFamily="34" charset="0"/>
              </a:defRPr>
            </a:lvl1pPr>
          </a:lstStyle>
          <a:p>
            <a:fld id="{04ABC90F-D60A-4D10-BF9C-C7AC7A2BE08A}" type="slidenum">
              <a:rPr lang="de-DE" noProof="0" smtClean="0"/>
              <a:pPr/>
              <a:t>‹#›</a:t>
            </a:fld>
            <a:endParaRPr lang="de-DE" noProof="0" dirty="0"/>
          </a:p>
        </p:txBody>
      </p:sp>
      <p:sp>
        <p:nvSpPr>
          <p:cNvPr id="2549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92113" y="898525"/>
            <a:ext cx="9104312" cy="684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itelformat bearbeiten</a:t>
            </a:r>
          </a:p>
        </p:txBody>
      </p:sp>
      <p:sp>
        <p:nvSpPr>
          <p:cNvPr id="254982" name="Line 6"/>
          <p:cNvSpPr>
            <a:spLocks noChangeShapeType="1"/>
          </p:cNvSpPr>
          <p:nvPr/>
        </p:nvSpPr>
        <p:spPr bwMode="auto">
          <a:xfrm>
            <a:off x="392113" y="762000"/>
            <a:ext cx="9102725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noProof="0" dirty="0">
              <a:latin typeface="VWAG TheSans" panose="020B0502050302020203" pitchFamily="34" charset="0"/>
            </a:endParaRPr>
          </a:p>
        </p:txBody>
      </p:sp>
      <p:pic>
        <p:nvPicPr>
          <p:cNvPr id="9" name="Picture 9" descr="VWGCN-en_CO_M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0538" y="304800"/>
            <a:ext cx="12922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7"/>
          <p:cNvSpPr>
            <a:spLocks noGrp="1" noChangeArrowheads="1"/>
          </p:cNvSpPr>
          <p:nvPr>
            <p:ph type="dt" sz="half" idx="2"/>
          </p:nvPr>
        </p:nvSpPr>
        <p:spPr>
          <a:xfrm>
            <a:off x="4408488" y="6548438"/>
            <a:ext cx="1911350" cy="285750"/>
          </a:xfrm>
          <a:prstGeom prst="rect">
            <a:avLst/>
          </a:prstGeom>
        </p:spPr>
        <p:txBody>
          <a:bodyPr/>
          <a:lstStyle>
            <a:lvl1pPr algn="ctr">
              <a:defRPr sz="1000" smtClean="0">
                <a:latin typeface="VWAG TheSans" panose="020B0502050302020203" pitchFamily="34" charset="0"/>
              </a:defRPr>
            </a:lvl1pPr>
          </a:lstStyle>
          <a:p>
            <a:pPr>
              <a:defRPr/>
            </a:pPr>
            <a:endParaRPr lang="de-DE" altLang="zh-CN" dirty="0"/>
          </a:p>
        </p:txBody>
      </p:sp>
      <p:pic>
        <p:nvPicPr>
          <p:cNvPr id="12" name="Picture 5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50" y="6381750"/>
            <a:ext cx="1846263" cy="45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4" r:id="rId3"/>
    <p:sldLayoutId id="2147483662" r:id="rId4"/>
    <p:sldLayoutId id="2147483663" r:id="rId5"/>
  </p:sldLayoutIdLst>
  <p:hf sldNum="0" hdr="0" ftr="0" dt="0"/>
  <p:txStyles>
    <p:titleStyle>
      <a:lvl1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WAG TheSans" panose="020B0502050302020203" pitchFamily="34" charset="0"/>
          <a:ea typeface="+mj-ea"/>
          <a:cs typeface="+mj-cs"/>
        </a:defRPr>
      </a:lvl1pPr>
      <a:lvl2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defRPr>
          <a:solidFill>
            <a:schemeClr val="tx1"/>
          </a:solidFill>
          <a:latin typeface="VWAG TheSans" panose="020B0502050302020203" pitchFamily="34" charset="0"/>
          <a:ea typeface="+mn-ea"/>
          <a:cs typeface="+mn-cs"/>
        </a:defRPr>
      </a:lvl1pPr>
      <a:lvl2pPr marL="190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2pPr>
      <a:lvl3pPr marL="381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3pPr>
      <a:lvl4pPr marL="571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4pPr>
      <a:lvl5pPr marL="762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VWAG TheSans" panose="020B0502050302020203" pitchFamily="34" charset="0"/>
        </a:defRPr>
      </a:lvl5pPr>
      <a:lvl6pPr marL="12192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6pPr>
      <a:lvl7pPr marL="16764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7pPr>
      <a:lvl8pPr marL="21336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8pPr>
      <a:lvl9pPr marL="25908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7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'1.0' encoding='UTF-8' standalone='yes'?>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9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comments" Target="../comments/comment1.xml"/></Relationships>
</file>

<file path=ppt/slides/_rels/slide3.xml.rels><?xml version='1.0' encoding='UTF-8' standalone='yes'?>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3022061"/>
              </p:ext>
            </p:extLst>
          </p:nvPr>
        </p:nvGraphicFramePr>
        <p:xfrm>
          <a:off x="1588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0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801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lnSpc>
                <a:spcPts val="3988"/>
              </a:lnSpc>
              <a:spcBef>
                <a:spcPct val="0"/>
              </a:spcBef>
            </a:pPr>
            <a:endParaRPr kumimoji="0" lang="en-US" sz="28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074" name="Text Box 2"/>
          <p:cNvSpPr txBox="1">
            <a:spLocks noChangeArrowheads="1"/>
          </p:cNvSpPr>
          <p:nvPr/>
        </p:nvSpPr>
        <p:spPr bwMode="auto">
          <a:xfrm>
            <a:off x="4470403" y="2798764"/>
            <a:ext cx="2935288" cy="560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7483" tIns="33741" rIns="67483" bIns="33741">
            <a:spAutoFit/>
          </a:bodyPr>
          <a:lstStyle>
            <a:lvl1pPr defTabSz="674688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674688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674688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674688" eaLnBrk="0" fontAlgn="base" hangingPunct="0">
              <a:spcBef>
                <a:spcPct val="50000"/>
              </a:spcBef>
              <a:spcAft>
                <a:spcPct val="0"/>
              </a:spcAft>
              <a:buFont typeface="Webdings" pitchFamily="18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</a:pPr>
            <a:r>
              <a:rPr lang="en-US" altLang="zh-CN" sz="3200" dirty="0">
                <a:solidFill>
                  <a:schemeClr val="bg1"/>
                </a:solidFill>
                <a:ea typeface="宋体" pitchFamily="2" charset="-122"/>
              </a:rPr>
              <a:t>BILD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69899" y="4138617"/>
            <a:ext cx="9263621" cy="574675"/>
          </a:xfrm>
        </p:spPr>
        <p:txBody>
          <a:bodyPr/>
          <a:lstStyle/>
          <a:p>
            <a:r>
              <a:rPr lang="en-US" dirty="0"/>
              <a:t>Long Term Trend</a:t>
            </a:r>
            <a:endParaRPr lang="en-US" altLang="zh-CN" sz="2800" dirty="0">
              <a:ea typeface="宋体" pitchFamily="2" charset="-122"/>
            </a:endParaRPr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" t="59120" r="3831" b="2065"/>
          <a:stretch>
            <a:fillRect/>
          </a:stretch>
        </p:blipFill>
        <p:spPr bwMode="auto">
          <a:xfrm>
            <a:off x="389380" y="1752600"/>
            <a:ext cx="9097963" cy="238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ubtitle 4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4617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2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04ABC90F-D60A-4D10-BF9C-C7AC7A2BE08A}" type="slidenum">
              <a:rPr lang="de-DE" noProof="0" smtClean="0"/>
              <a:pPr/>
              <a:t>2</a:t>
            </a:fld>
            <a:endParaRPr lang="de-D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r>
              <a:rPr lang="en-US" noProof="0"/>
              <a:t>Group Market and Sales Steering</a:t>
            </a:r>
            <a:endParaRPr lang="de-DE" noProof="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406171" y="4553544"/>
          <a:ext cx="9100463" cy="18395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85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980109755"/>
                    </a:ext>
                  </a:extLst>
                </a:gridCol>
                <a:gridCol w="68411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576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% Chang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0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1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2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3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4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5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6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7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8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29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VWAG TheSans" panose="020B0502050302020203" pitchFamily="34" charset="0"/>
                        </a:rPr>
                        <a:t>2030E</a:t>
                      </a: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cc. Dev</a:t>
                      </a: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VW Bran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Audi</a:t>
                      </a:r>
                      <a:r>
                        <a:rPr lang="en-US" sz="900" b="1" baseline="0" dirty="0">
                          <a:latin typeface="+mj-lt"/>
                        </a:rPr>
                        <a:t> Brand</a:t>
                      </a:r>
                      <a:endParaRPr lang="en-US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Skoda Bran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03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WAG TheSans"/>
                        </a:defRPr>
                      </a:lvl9pPr>
                    </a:lstStyle>
                    <a:p>
                      <a:r>
                        <a:rPr lang="en-US" sz="900" b="1" dirty="0">
                          <a:latin typeface="+mj-lt"/>
                        </a:rPr>
                        <a:t>Jetta Bran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913715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+mj-lt"/>
                        </a:rPr>
                        <a:t>JAC-VW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15210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ther FBU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92212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roup Tot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 dirty="0">
                        <a:solidFill>
                          <a:srgbClr val="9C0006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3860307847"/>
              </p:ext>
            </p:extLst>
          </p:nvPr>
        </p:nvGraphicFramePr>
        <p:xfrm>
          <a:off x="1306286" y="1965441"/>
          <a:ext cx="7456714" cy="2588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42648" y="3258284"/>
            <a:ext cx="655984" cy="2061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Volume </a:t>
            </a:r>
          </a:p>
          <a:p>
            <a:pPr algn="ctr"/>
            <a:r>
              <a:rPr lang="en-US" sz="800" b="1" dirty="0">
                <a:solidFill>
                  <a:srgbClr val="000000"/>
                </a:solidFill>
                <a:latin typeface="VWAG TheSans"/>
              </a:rPr>
              <a:t>’000 units</a:t>
            </a:r>
          </a:p>
        </p:txBody>
      </p:sp>
    </p:spTree>
    <p:extLst>
      <p:ext uri="{BB962C8B-B14F-4D97-AF65-F5344CB8AC3E}">
        <p14:creationId xmlns:p14="http://schemas.microsoft.com/office/powerpoint/2010/main" val="12727529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03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74688">
              <a:spcBef>
                <a:spcPct val="0"/>
              </a:spcBef>
            </a:pPr>
            <a:endParaRPr kumimoji="0" lang="en-US" altLang="zh-CN" sz="20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VWAG TheSans" panose="020B0502050302020203" pitchFamily="34" charset="0"/>
              <a:ea typeface="宋体" panose="02010600030101010101" pitchFamily="2" charset="-122"/>
              <a:cs typeface="+mj-cs"/>
              <a:sym typeface="VWAG TheSans" panose="020B0502050302020203" pitchFamily="34" charset="0"/>
            </a:endParaRPr>
          </a:p>
        </p:txBody>
      </p:sp>
      <p:graphicFrame>
        <p:nvGraphicFramePr>
          <p:cNvPr id="68" name="Chart 67"/>
          <p:cNvGraphicFramePr/>
          <p:nvPr/>
        </p:nvGraphicFramePr>
        <p:xfrm>
          <a:off x="359728" y="2512720"/>
          <a:ext cx="8761970" cy="3364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812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ea typeface="宋体" pitchFamily="2" charset="-122"/>
              </a:rPr>
              <a:t>Title</a:t>
            </a:r>
            <a:endParaRPr lang="en-US" altLang="zh-CN" dirty="0">
              <a:latin typeface="+mj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04528" y="2021659"/>
            <a:ext cx="64472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"/>
            <a:r>
              <a:rPr lang="de-DE" altLang="zh-CN" sz="1000" dirty="0">
                <a:solidFill>
                  <a:srgbClr val="000000"/>
                </a:solidFill>
                <a:latin typeface="+mj-lt"/>
              </a:rPr>
              <a:t>Volume</a:t>
            </a:r>
          </a:p>
          <a:p>
            <a:pPr algn="ctr" fontAlgn="b"/>
            <a:r>
              <a:rPr lang="de-DE" altLang="zh-CN" sz="1000" dirty="0">
                <a:solidFill>
                  <a:srgbClr val="000000"/>
                </a:solidFill>
                <a:latin typeface="+mj-lt"/>
              </a:rPr>
              <a:t> (In Tsd.)</a:t>
            </a:r>
            <a:endParaRPr lang="en-US" altLang="zh-CN" sz="1000" dirty="0">
              <a:solidFill>
                <a:srgbClr val="33434C"/>
              </a:solidFill>
              <a:latin typeface="+mj-lt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8769424" y="4619311"/>
            <a:ext cx="85503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>
                <a:solidFill>
                  <a:srgbClr val="003366"/>
                </a:solidFill>
                <a:latin typeface="+mj-lt"/>
              </a:rPr>
              <a:t>PR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8769424" y="4365104"/>
            <a:ext cx="85943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PR2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84658" y="6165304"/>
            <a:ext cx="8702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>
                <a:latin typeface="VWAG TheSans" panose="020B0502050302020203" pitchFamily="34" charset="0"/>
                <a:cs typeface="Arial" panose="020B0604020202020204" pitchFamily="34" charset="0"/>
              </a:rPr>
              <a:t>Source: PR1 and PR2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3B2E77EC-395B-4C42-A7D4-DA449485E2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5882254"/>
              </p:ext>
            </p:extLst>
          </p:nvPr>
        </p:nvGraphicFramePr>
        <p:xfrm>
          <a:off x="582193" y="5581569"/>
          <a:ext cx="8627592" cy="591405"/>
        </p:xfrm>
        <a:graphic>
          <a:graphicData uri="http://schemas.openxmlformats.org/drawingml/2006/table">
            <a:tbl>
              <a:tblPr firstRow="1" bandRow="1"/>
              <a:tblGrid>
                <a:gridCol w="9815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96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76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79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63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9522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1903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9522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57129">
                  <a:extLst>
                    <a:ext uri="{9D8B030D-6E8A-4147-A177-3AD203B41FA5}">
                      <a16:colId xmlns:a16="http://schemas.microsoft.com/office/drawing/2014/main" val="2764176861"/>
                    </a:ext>
                  </a:extLst>
                </a:gridCol>
              </a:tblGrid>
              <a:tr h="19713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C00000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VWAG TheSans" panose="020B0502050302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06801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13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0" marR="8600" marT="86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WAG TheSans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3703476"/>
      </p:ext>
    </p:extLst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/>
        </p:txBody>
      </p:sp>
      <p:sp>
        <p:nvSpPr>
          <p:cNvPr id="3" name="Subtitle 2"/>
          <p:cNvSpPr>
            <a:spLocks noGrp="1"/>
          </p:cNvSpPr>
          <p:nvPr>
            <p:ph type="subTitle" idx="1" sz="quarter"/>
          </p:nvPr>
        </p:nvSpPr>
        <p:spPr/>
        <p:txBody>
          <a:bodyPr/>
          <a:lstStyle/>
          <a:p/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260000" y="4500000"/>
          <a:ext cx="10368000" cy="216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000"/>
                <a:gridCol w="2160000"/>
                <a:gridCol w="2160000"/>
                <a:gridCol w="2160000"/>
                <a:gridCol w="1728000"/>
              </a:tblGrid>
              <a:tr h="432000">
                <a:tc>
                  <a:txBody>
                    <a:bodyPr/>
                    <a:lstStyle/>
                    <a:p/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PR 69.S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PR 69.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MS% PR69.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/>
                  </a:txBody>
                  <a:tcPr/>
                </a:tc>
              </a:tr>
              <a:tr h="432000">
                <a:tc>
                  <a:txBody>
                    <a:bodyPr/>
                    <a:lstStyle/>
                    <a:p>
                      <a:r>
                        <a:t>PR 69.S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4620952.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4855459.2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5201840.6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5414324.468</a:t>
                      </a:r>
                    </a:p>
                  </a:txBody>
                  <a:tcPr/>
                </a:tc>
              </a:tr>
              <a:tr h="432000">
                <a:tc>
                  <a:txBody>
                    <a:bodyPr/>
                    <a:lstStyle/>
                    <a:p>
                      <a:r>
                        <a:t>PR 69.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44517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46876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48590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4809117</a:t>
                      </a:r>
                    </a:p>
                  </a:txBody>
                  <a:tcPr/>
                </a:tc>
              </a:tr>
              <a:tr h="432000">
                <a:tc>
                  <a:txBody>
                    <a:bodyPr/>
                    <a:lstStyle/>
                    <a:p>
                      <a:r>
                        <a:t>MS% PR69.S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0.2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0.2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0.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t>0.205</a:t>
                      </a:r>
                    </a:p>
                  </a:txBody>
                  <a:tcPr/>
                </a:tc>
              </a:tr>
              <a:tr h="432000">
                <a:tc>
                  <a:txBody>
                    <a:bodyPr/>
                    <a:lstStyle/>
                    <a:p/>
                  </a:txBody>
                  <a:tcPr/>
                </a:tc>
                <a:tc>
                  <a:txBody>
                    <a:bodyPr/>
                    <a:lstStyle/>
                    <a:p/>
                  </a:txBody>
                  <a:tcPr/>
                </a:tc>
                <a:tc>
                  <a:txBody>
                    <a:bodyPr/>
                    <a:lstStyle/>
                    <a:p/>
                  </a:txBody>
                  <a:tcPr/>
                </a:tc>
                <a:tc>
                  <a:txBody>
                    <a:bodyPr/>
                    <a:lstStyle/>
                    <a:p/>
                  </a:txBody>
                  <a:tcPr/>
                </a:tc>
                <a:tc>
                  <a:txBody>
                    <a:bodyPr/>
                    <a:lstStyle/>
                    <a:p/>
                  </a:txBody>
                  <a:tcPr/>
                </a:tc>
              </a:tr>
            </a:tbl>
          </a:graphicData>
        </a:graphic>
      </p:graphicFrame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1260000" y="1512000"/>
          <a:ext cx="8640000" cy="2880000"/>
        </p:xfrm>
        <a:graphic>
          <a:graphicData uri="http://schemas.openxmlformats.org/drawingml/2006/chart">
            <c:chart xmlns:c="http://schemas.openxmlformats.org/drawingml/2006/chart" r:id="rId2"/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9&quot;&gt;&lt;elem m_fUsage=&quot;3.23197520629218537636E+00&quot;&gt;&lt;m_msothmcolidx val=&quot;0&quot;/&gt;&lt;m_rgb r=&quot;00&quot; g=&quot;46&quot; b=&quot;66&quot;/&gt;&lt;m_nBrightness endver=&quot;26206&quot; val=&quot;0&quot;/&gt;&lt;/elem&gt;&lt;elem m_fUsage=&quot;2.95558581961904298652E+00&quot;&gt;&lt;m_msothmcolidx val=&quot;0&quot;/&gt;&lt;m_rgb r=&quot;A8&quot; g=&quot;AD&quot; b=&quot;B3&quot;/&gt;&lt;m_nBrightness endver=&quot;26206&quot; val=&quot;0&quot;/&gt;&lt;/elem&gt;&lt;elem m_fUsage=&quot;1.31729824910172865771E+00&quot;&gt;&lt;m_msothmcolidx val=&quot;0&quot;/&gt;&lt;m_rgb r=&quot;80&quot; g=&quot;B0&quot; b=&quot;C8&quot;/&gt;&lt;m_nBrightness endver=&quot;26206&quot; val=&quot;0&quot;/&gt;&lt;/elem&gt;&lt;elem m_fUsage=&quot;1.17828327393405851709E+00&quot;&gt;&lt;m_msothmcolidx val=&quot;0&quot;/&gt;&lt;m_rgb r=&quot;00&quot; g=&quot;63&quot; b=&quot;84&quot;/&gt;&lt;m_nBrightness endver=&quot;26206&quot; val=&quot;0&quot;/&gt;&lt;/elem&gt;&lt;elem m_fUsage=&quot;6.11370529279628982522E-01&quot;&gt;&lt;m_msothmcolidx val=&quot;0&quot;/&gt;&lt;m_rgb r=&quot;C6&quot; g=&quot;DF&quot; b=&quot;E7&quot;/&gt;&lt;m_nBrightness endver=&quot;26206&quot; val=&quot;0&quot;/&gt;&lt;/elem&gt;&lt;elem m_fUsage=&quot;4.01600804933714972123E-01&quot;&gt;&lt;m_msothmcolidx val=&quot;0&quot;/&gt;&lt;m_rgb r=&quot;C8&quot; g=&quot;2D&quot; b=&quot;20&quot;/&gt;&lt;m_nBrightness endver=&quot;26206&quot; val=&quot;0&quot;/&gt;&lt;/elem&gt;&lt;elem m_fUsage=&quot;9.83659779805733103242E-02&quot;&gt;&lt;m_msothmcolidx val=&quot;0&quot;/&gt;&lt;m_rgb r=&quot;E3&quot; g=&quot;EF&quot; b=&quot;F8&quot;/&gt;&lt;m_nBrightness endver=&quot;26206&quot; val=&quot;0&quot;/&gt;&lt;/elem&gt;&lt;elem m_fUsage=&quot;7.97664430768725701837E-02&quot;&gt;&lt;m_msothmcolidx val=&quot;0&quot;/&gt;&lt;m_rgb r=&quot;C0&quot; g=&quot;D9&quot; b=&quot;E4&quot;/&gt;&lt;m_nBrightness endver=&quot;26206&quot; val=&quot;0&quot;/&gt;&lt;/elem&gt;&lt;elem m_fUsage=&quot;5.03671768769803074317E-02&quot;&gt;&lt;m_msothmcolidx val=&quot;0&quot;/&gt;&lt;m_rgb r=&quot;00&quot; g=&quot;80&quot; b=&quot;00&quot;/&gt;&lt;m_nBrightness endver=&quot;26206&quot; val=&quot;0&quot;/&gt;&lt;/elem&gt;&lt;elem m_fUsage=&quot;4.85472444507426201254E-02&quot;&gt;&lt;m_msothmcolidx val=&quot;0&quot;/&gt;&lt;m_rgb r=&quot;D4&quot; g=&quot;D6&quot; b=&quot;D9&quot;/&gt;&lt;m_nBrightness endver=&quot;26206&quot; val=&quot;0&quot;/&gt;&lt;/elem&gt;&lt;elem m_fUsage=&quot;1.07752636643058292976E-02&quot;&gt;&lt;m_msothmcolidx val=&quot;0&quot;/&gt;&lt;m_rgb r=&quot;0E&quot; g=&quot;60&quot; b=&quot;DA&quot;/&gt;&lt;m_nBrightness endver=&quot;26206&quot; val=&quot;0&quot;/&gt;&lt;/elem&gt;&lt;elem m_fUsage=&quot;9.69773729787524671475E-03&quot;&gt;&lt;m_msothmcolidx val=&quot;0&quot;/&gt;&lt;m_rgb r=&quot;10&quot; g=&quot;5B&quot; b=&quot;D8&quot;/&gt;&lt;m_nBrightness endver=&quot;26206&quot; val=&quot;0&quot;/&gt;&lt;/elem&gt;&lt;elem m_fUsage=&quot;6.36268544113594968631E-03&quot;&gt;&lt;m_msothmcolidx val=&quot;0&quot;/&gt;&lt;m_rgb r=&quot;E1&quot; g=&quot;FF&quot; b=&quot;E1&quot;/&gt;&lt;m_nBrightness endver=&quot;26206&quot; val=&quot;0&quot;/&gt;&lt;/elem&gt;&lt;elem m_fUsage=&quot;3.58805113110951656702E-06&quot;&gt;&lt;m_msothmcolidx val=&quot;0&quot;/&gt;&lt;m_rgb r=&quot;99&quot; g=&quot;C8&quot; b=&quot;37&quot;/&gt;&lt;m_nBrightness endver=&quot;26206&quot; val=&quot;0&quot;/&gt;&lt;/elem&gt;&lt;elem m_fUsage=&quot;1.68653493349632678084E-14&quot;&gt;&lt;m_msothmcolidx val=&quot;0&quot;/&gt;&lt;m_rgb r=&quot;00&quot; g=&quot;33&quot; b=&quot;66&quot;/&gt;&lt;m_nBrightness endver=&quot;26206&quot; val=&quot;0&quot;/&gt;&lt;/elem&gt;&lt;elem m_fUsage=&quot;3.47242586774732431986E-15&quot;&gt;&lt;m_msothmcolidx val=&quot;0&quot;/&gt;&lt;m_rgb r=&quot;A3&quot; g=&quot;CA&quot; b=&quot;E7&quot;/&gt;&lt;m_nBrightness endver=&quot;26206&quot; val=&quot;0&quot;/&gt;&lt;/elem&gt;&lt;elem m_fUsage=&quot;6.43447523722716738166E-16&quot;&gt;&lt;m_msothmcolidx val=&quot;0&quot;/&gt;&lt;m_rgb r=&quot;C2&quot; g=&quot;CC&quot; b=&quot;A6&quot;/&gt;&lt;m_nBrightness endver=&quot;26206&quot; val=&quot;0&quot;/&gt;&lt;/elem&gt;&lt;elem m_fUsage=&quot;5.79102771350445044628E-16&quot;&gt;&lt;m_msothmcolidx val=&quot;0&quot;/&gt;&lt;m_rgb r=&quot;95&quot; g=&quot;A8&quot; b=&quot;44&quot;/&gt;&lt;m_nBrightness endver=&quot;26206&quot; val=&quot;0&quot;/&gt;&lt;/elem&gt;&lt;elem m_fUsage=&quot;4.69073244793860543341E-16&quot;&gt;&lt;m_msothmcolidx val=&quot;0&quot;/&gt;&lt;m_rgb r=&quot;5F&quot; g=&quot;19&quot; b=&quot;39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m_QNz9QR6ymDWxtyDu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lh1JWISbKSHIrZxJwp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NKgN65PEKJYlUlRZsv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ds0UXrRouKKAJ66Lbz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U8Q63Sd6b4pvuPy07DQ"/>
</p:tagLst>
</file>

<file path=ppt/theme/theme1.xml><?xml version="1.0" encoding="utf-8"?>
<a:theme xmlns:a="http://schemas.openxmlformats.org/drawingml/2006/main" name="VWAG_Presentation_q_de">
  <a:themeElements>
    <a:clrScheme name="VWAG_CD_-Farben">
      <a:dk1>
        <a:srgbClr val="000000"/>
      </a:dk1>
      <a:lt1>
        <a:srgbClr val="FFFFFF"/>
      </a:lt1>
      <a:dk2>
        <a:srgbClr val="003366"/>
      </a:dk2>
      <a:lt2>
        <a:srgbClr val="D4D6D9"/>
      </a:lt2>
      <a:accent1>
        <a:srgbClr val="4C5356"/>
      </a:accent1>
      <a:accent2>
        <a:srgbClr val="A8ADB3"/>
      </a:accent2>
      <a:accent3>
        <a:srgbClr val="006384"/>
      </a:accent3>
      <a:accent4>
        <a:srgbClr val="5F1939"/>
      </a:accent4>
      <a:accent5>
        <a:srgbClr val="D4D6D9"/>
      </a:accent5>
      <a:accent6>
        <a:srgbClr val="80B0C8"/>
      </a:accent6>
      <a:hlink>
        <a:srgbClr val="004666"/>
      </a:hlink>
      <a:folHlink>
        <a:srgbClr val="A21E4D"/>
      </a:folHlink>
    </a:clrScheme>
    <a:fontScheme name="VWAG">
      <a:majorFont>
        <a:latin typeface="VWAG TheSans"/>
        <a:ea typeface=""/>
        <a:cs typeface=""/>
      </a:majorFont>
      <a:minorFont>
        <a:latin typeface="VWAG The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>
    <a:extraClrScheme>
      <a:clrScheme name="VWAG_Presentation_q_de 1">
        <a:dk1>
          <a:srgbClr val="000000"/>
        </a:dk1>
        <a:lt1>
          <a:srgbClr val="FFFFFF"/>
        </a:lt1>
        <a:dk2>
          <a:srgbClr val="003366"/>
        </a:dk2>
        <a:lt2>
          <a:srgbClr val="D4D6D9"/>
        </a:lt2>
        <a:accent1>
          <a:srgbClr val="A8ADB3"/>
        </a:accent1>
        <a:accent2>
          <a:srgbClr val="006384"/>
        </a:accent2>
        <a:accent3>
          <a:srgbClr val="FFFFFF"/>
        </a:accent3>
        <a:accent4>
          <a:srgbClr val="000000"/>
        </a:accent4>
        <a:accent5>
          <a:srgbClr val="D1D3D6"/>
        </a:accent5>
        <a:accent6>
          <a:srgbClr val="005977"/>
        </a:accent6>
        <a:hlink>
          <a:srgbClr val="5F1939"/>
        </a:hlink>
        <a:folHlink>
          <a:srgbClr val="80B0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120316_VWAG_Template_draft 1">
    <a:dk1>
      <a:srgbClr val="000000"/>
    </a:dk1>
    <a:lt1>
      <a:srgbClr val="FFFFFF"/>
    </a:lt1>
    <a:dk2>
      <a:srgbClr val="003366"/>
    </a:dk2>
    <a:lt2>
      <a:srgbClr val="D4D6D9"/>
    </a:lt2>
    <a:accent1>
      <a:srgbClr val="A6ADB3"/>
    </a:accent1>
    <a:accent2>
      <a:srgbClr val="006384"/>
    </a:accent2>
    <a:accent3>
      <a:srgbClr val="FFFFFF"/>
    </a:accent3>
    <a:accent4>
      <a:srgbClr val="000000"/>
    </a:accent4>
    <a:accent5>
      <a:srgbClr val="D0D3D6"/>
    </a:accent5>
    <a:accent6>
      <a:srgbClr val="005977"/>
    </a:accent6>
    <a:hlink>
      <a:srgbClr val="5F1939"/>
    </a:hlink>
    <a:folHlink>
      <a:srgbClr val="80B0C8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7</Words>
  <Application>Microsoft Macintosh PowerPoint</Application>
  <PresentationFormat>A4 Paper (210x297 mm)</PresentationFormat>
  <Paragraphs>38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VWAG TheSans</vt:lpstr>
      <vt:lpstr>Arial</vt:lpstr>
      <vt:lpstr>Calibri</vt:lpstr>
      <vt:lpstr>VWAG_Presentation_q_de</vt:lpstr>
      <vt:lpstr>think-cell Slide</vt:lpstr>
      <vt:lpstr>Long Term Trend</vt:lpstr>
      <vt:lpstr>Title</vt:lpstr>
      <vt:lpstr>Tit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1-07-05T10:04:19Z</dcterms:created>
  <dcterms:modified xsi:type="dcterms:W3CDTF">2020-08-11T09:3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